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</p:sldMasterIdLst>
  <p:notesMasterIdLst>
    <p:notesMasterId r:id="rId13"/>
  </p:notesMasterIdLst>
  <p:handoutMasterIdLst>
    <p:handoutMasterId r:id="rId14"/>
  </p:handoutMasterIdLst>
  <p:sldIdLst>
    <p:sldId id="1277" r:id="rId3"/>
    <p:sldId id="1293" r:id="rId4"/>
    <p:sldId id="1294" r:id="rId5"/>
    <p:sldId id="1296" r:id="rId6"/>
    <p:sldId id="1371" r:id="rId7"/>
    <p:sldId id="1373" r:id="rId8"/>
    <p:sldId id="1343" r:id="rId9"/>
    <p:sldId id="1344" r:id="rId10"/>
    <p:sldId id="1345" r:id="rId11"/>
    <p:sldId id="1346" r:id="rId12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71"/>
            <p14:sldId id="1373"/>
            <p14:sldId id="1343"/>
            <p14:sldId id="1344"/>
            <p14:sldId id="1345"/>
            <p14:sldId id="1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69"/>
    <a:srgbClr val="FF7575"/>
    <a:srgbClr val="FD783D"/>
    <a:srgbClr val="FF572F"/>
    <a:srgbClr val="FF7453"/>
    <a:srgbClr val="FF5D37"/>
    <a:srgbClr val="F1592F"/>
    <a:srgbClr val="FF3300"/>
    <a:srgbClr val="FFD243"/>
    <a:srgbClr val="FF7A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181" autoAdjust="0"/>
    <p:restoredTop sz="94548" autoAdjust="0"/>
  </p:normalViewPr>
  <p:slideViewPr>
    <p:cSldViewPr snapToGrid="0">
      <p:cViewPr varScale="1">
        <p:scale>
          <a:sx n="94" d="100"/>
          <a:sy n="94" d="100"/>
        </p:scale>
        <p:origin x="446" y="5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19.12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9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45150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45485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 smtClean="0"/>
              <a:t>19. </a:t>
            </a:r>
            <a:r>
              <a:rPr lang="cs-CZ" b="1" dirty="0" smtClean="0"/>
              <a:t>prosince 2021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1494973"/>
              </p:ext>
            </p:extLst>
          </p:nvPr>
        </p:nvGraphicFramePr>
        <p:xfrm>
          <a:off x="372867" y="838718"/>
          <a:ext cx="11435203" cy="5212442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242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12678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agnace počtu C19 hospitalizovaných na standardních odděleních i v intenzivní péči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éči se daří zajistit za cenu omezení elektivní péče i výpomoci AČR/HZS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pokles denního lineární nárůstu o cca 5-7 pacientů denně na standardních odd.,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atím méně na JIP, ty jsou plné především v menších nemocnicích (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alMez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Vsetín, U.H.)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 personálu je ve všech zařízeních – extrém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.Hradišt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180 PN, z toho 48 pro COVID)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JIPy plné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stavená.</a:t>
                      </a:r>
                    </a:p>
                    <a:p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zinemocničním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transporty v rámci kraje.</a:t>
                      </a:r>
                    </a:p>
                    <a:p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akt. “stabilizovaná“ – snížil se počet nově přijímaných COVID pacientů. </a:t>
                      </a:r>
                    </a:p>
                    <a:p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IP problém s velkým počtem post-COVID pacientů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715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771770" y="2788977"/>
            <a:ext cx="292330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 smtClean="0"/>
              <a:t>19.12.2021 00:28</a:t>
            </a:r>
            <a:endParaRPr lang="cs-CZ" b="1" dirty="0" smtClean="0"/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812</a:t>
            </a:r>
            <a:endParaRPr lang="cs-CZ" b="1" dirty="0" smtClean="0"/>
          </a:p>
          <a:p>
            <a:pPr algn="ctr"/>
            <a:endParaRPr lang="cs-CZ" sz="2000" b="1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0321816"/>
              </p:ext>
            </p:extLst>
          </p:nvPr>
        </p:nvGraphicFramePr>
        <p:xfrm>
          <a:off x="332818" y="955225"/>
          <a:ext cx="9880702" cy="5389208"/>
        </p:xfrm>
        <a:graphic>
          <a:graphicData uri="http://schemas.openxmlformats.org/drawingml/2006/table">
            <a:tbl>
              <a:tblPr/>
              <a:tblGrid>
                <a:gridCol w="2169216">
                  <a:extLst>
                    <a:ext uri="{9D8B030D-6E8A-4147-A177-3AD203B41FA5}">
                      <a16:colId xmlns:a16="http://schemas.microsoft.com/office/drawing/2014/main" val="3152533931"/>
                    </a:ext>
                  </a:extLst>
                </a:gridCol>
                <a:gridCol w="1235448">
                  <a:extLst>
                    <a:ext uri="{9D8B030D-6E8A-4147-A177-3AD203B41FA5}">
                      <a16:colId xmlns:a16="http://schemas.microsoft.com/office/drawing/2014/main" val="1159552992"/>
                    </a:ext>
                  </a:extLst>
                </a:gridCol>
                <a:gridCol w="1221080">
                  <a:extLst>
                    <a:ext uri="{9D8B030D-6E8A-4147-A177-3AD203B41FA5}">
                      <a16:colId xmlns:a16="http://schemas.microsoft.com/office/drawing/2014/main" val="271855023"/>
                    </a:ext>
                  </a:extLst>
                </a:gridCol>
                <a:gridCol w="1221080">
                  <a:extLst>
                    <a:ext uri="{9D8B030D-6E8A-4147-A177-3AD203B41FA5}">
                      <a16:colId xmlns:a16="http://schemas.microsoft.com/office/drawing/2014/main" val="2475825002"/>
                    </a:ext>
                  </a:extLst>
                </a:gridCol>
                <a:gridCol w="1278544">
                  <a:extLst>
                    <a:ext uri="{9D8B030D-6E8A-4147-A177-3AD203B41FA5}">
                      <a16:colId xmlns:a16="http://schemas.microsoft.com/office/drawing/2014/main" val="1990890851"/>
                    </a:ext>
                  </a:extLst>
                </a:gridCol>
                <a:gridCol w="1017088">
                  <a:extLst>
                    <a:ext uri="{9D8B030D-6E8A-4147-A177-3AD203B41FA5}">
                      <a16:colId xmlns:a16="http://schemas.microsoft.com/office/drawing/2014/main" val="1319321872"/>
                    </a:ext>
                  </a:extLst>
                </a:gridCol>
                <a:gridCol w="1738246">
                  <a:extLst>
                    <a:ext uri="{9D8B030D-6E8A-4147-A177-3AD203B41FA5}">
                      <a16:colId xmlns:a16="http://schemas.microsoft.com/office/drawing/2014/main" val="1055988399"/>
                    </a:ext>
                  </a:extLst>
                </a:gridCol>
              </a:tblGrid>
              <a:tr h="204880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7303565"/>
                  </a:ext>
                </a:extLst>
              </a:tr>
              <a:tr h="204880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19.12. 2021, 11:30 h</a:t>
                      </a: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1430944"/>
                  </a:ext>
                </a:extLst>
              </a:tr>
              <a:tr h="194659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4083919"/>
                  </a:ext>
                </a:extLst>
              </a:tr>
              <a:tr h="19465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145051"/>
                  </a:ext>
                </a:extLst>
              </a:tr>
              <a:tr h="7083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68804"/>
                  </a:ext>
                </a:extLst>
              </a:tr>
              <a:tr h="1946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239578"/>
                  </a:ext>
                </a:extLst>
              </a:tr>
              <a:tr h="1946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3936127"/>
                  </a:ext>
                </a:extLst>
              </a:tr>
              <a:tr h="1946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7240814"/>
                  </a:ext>
                </a:extLst>
              </a:tr>
              <a:tr h="1946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3016624"/>
                  </a:ext>
                </a:extLst>
              </a:tr>
              <a:tr h="1946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5762638"/>
                  </a:ext>
                </a:extLst>
              </a:tr>
              <a:tr h="1946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06237352"/>
                  </a:ext>
                </a:extLst>
              </a:tr>
              <a:tr h="1946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7977720"/>
                  </a:ext>
                </a:extLst>
              </a:tr>
              <a:tr h="1946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2150010"/>
                  </a:ext>
                </a:extLst>
              </a:tr>
              <a:tr h="1946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1229733"/>
                  </a:ext>
                </a:extLst>
              </a:tr>
              <a:tr h="1946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8698039"/>
                  </a:ext>
                </a:extLst>
              </a:tr>
              <a:tr h="1946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0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3943390"/>
                  </a:ext>
                </a:extLst>
              </a:tr>
              <a:tr h="1946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30851773"/>
                  </a:ext>
                </a:extLst>
              </a:tr>
              <a:tr h="1946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5076456"/>
                  </a:ext>
                </a:extLst>
              </a:tr>
              <a:tr h="1975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9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7461011"/>
                  </a:ext>
                </a:extLst>
              </a:tr>
              <a:tr h="1946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37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2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4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1761015"/>
                  </a:ext>
                </a:extLst>
              </a:tr>
              <a:tr h="194659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9444287"/>
                  </a:ext>
                </a:extLst>
              </a:tr>
              <a:tr h="194659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6479392"/>
                  </a:ext>
                </a:extLst>
              </a:tr>
              <a:tr h="194659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0639423"/>
                  </a:ext>
                </a:extLst>
              </a:tr>
              <a:tr h="194659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x</a:t>
                      </a: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734517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8888286" y="3247654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201569"/>
              </p:ext>
            </p:extLst>
          </p:nvPr>
        </p:nvGraphicFramePr>
        <p:xfrm>
          <a:off x="269420" y="987877"/>
          <a:ext cx="9813473" cy="5394414"/>
        </p:xfrm>
        <a:graphic>
          <a:graphicData uri="http://schemas.openxmlformats.org/drawingml/2006/table">
            <a:tbl>
              <a:tblPr/>
              <a:tblGrid>
                <a:gridCol w="2154457">
                  <a:extLst>
                    <a:ext uri="{9D8B030D-6E8A-4147-A177-3AD203B41FA5}">
                      <a16:colId xmlns:a16="http://schemas.microsoft.com/office/drawing/2014/main" val="3200189265"/>
                    </a:ext>
                  </a:extLst>
                </a:gridCol>
                <a:gridCol w="1227041">
                  <a:extLst>
                    <a:ext uri="{9D8B030D-6E8A-4147-A177-3AD203B41FA5}">
                      <a16:colId xmlns:a16="http://schemas.microsoft.com/office/drawing/2014/main" val="3792307450"/>
                    </a:ext>
                  </a:extLst>
                </a:gridCol>
                <a:gridCol w="1212773">
                  <a:extLst>
                    <a:ext uri="{9D8B030D-6E8A-4147-A177-3AD203B41FA5}">
                      <a16:colId xmlns:a16="http://schemas.microsoft.com/office/drawing/2014/main" val="444644248"/>
                    </a:ext>
                  </a:extLst>
                </a:gridCol>
                <a:gridCol w="1212773">
                  <a:extLst>
                    <a:ext uri="{9D8B030D-6E8A-4147-A177-3AD203B41FA5}">
                      <a16:colId xmlns:a16="http://schemas.microsoft.com/office/drawing/2014/main" val="160322038"/>
                    </a:ext>
                  </a:extLst>
                </a:gridCol>
                <a:gridCol w="1269844">
                  <a:extLst>
                    <a:ext uri="{9D8B030D-6E8A-4147-A177-3AD203B41FA5}">
                      <a16:colId xmlns:a16="http://schemas.microsoft.com/office/drawing/2014/main" val="4041772264"/>
                    </a:ext>
                  </a:extLst>
                </a:gridCol>
                <a:gridCol w="1010168">
                  <a:extLst>
                    <a:ext uri="{9D8B030D-6E8A-4147-A177-3AD203B41FA5}">
                      <a16:colId xmlns:a16="http://schemas.microsoft.com/office/drawing/2014/main" val="1507327339"/>
                    </a:ext>
                  </a:extLst>
                </a:gridCol>
                <a:gridCol w="1726417">
                  <a:extLst>
                    <a:ext uri="{9D8B030D-6E8A-4147-A177-3AD203B41FA5}">
                      <a16:colId xmlns:a16="http://schemas.microsoft.com/office/drawing/2014/main" val="2428398117"/>
                    </a:ext>
                  </a:extLst>
                </a:gridCol>
              </a:tblGrid>
              <a:tr h="196338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4384880"/>
                  </a:ext>
                </a:extLst>
              </a:tr>
              <a:tr h="206289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19.12. 2021, 11:30 h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7639244"/>
                  </a:ext>
                </a:extLst>
              </a:tr>
              <a:tr h="196338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8835332"/>
                  </a:ext>
                </a:extLst>
              </a:tr>
              <a:tr h="19633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6008794"/>
                  </a:ext>
                </a:extLst>
              </a:tr>
              <a:tr h="71317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1542136"/>
                  </a:ext>
                </a:extLst>
              </a:tr>
              <a:tr h="19633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6206729"/>
                  </a:ext>
                </a:extLst>
              </a:tr>
              <a:tr h="19633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0460922"/>
                  </a:ext>
                </a:extLst>
              </a:tr>
              <a:tr h="19633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2786734"/>
                  </a:ext>
                </a:extLst>
              </a:tr>
              <a:tr h="19633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1681747"/>
                  </a:ext>
                </a:extLst>
              </a:tr>
              <a:tr h="19633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2969717"/>
                  </a:ext>
                </a:extLst>
              </a:tr>
              <a:tr h="19633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0696436"/>
                  </a:ext>
                </a:extLst>
              </a:tr>
              <a:tr h="19633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5036133"/>
                  </a:ext>
                </a:extLst>
              </a:tr>
              <a:tr h="19633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90386302"/>
                  </a:ext>
                </a:extLst>
              </a:tr>
              <a:tr h="19633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3946878"/>
                  </a:ext>
                </a:extLst>
              </a:tr>
              <a:tr h="19633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1752641"/>
                  </a:ext>
                </a:extLst>
              </a:tr>
              <a:tr h="19633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622707"/>
                  </a:ext>
                </a:extLst>
              </a:tr>
              <a:tr h="19633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659626"/>
                  </a:ext>
                </a:extLst>
              </a:tr>
              <a:tr h="19633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4081932"/>
                  </a:ext>
                </a:extLst>
              </a:tr>
              <a:tr h="19633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3555257"/>
                  </a:ext>
                </a:extLst>
              </a:tr>
              <a:tr h="1989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2330138"/>
                  </a:ext>
                </a:extLst>
              </a:tr>
              <a:tr h="196338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4599247"/>
                  </a:ext>
                </a:extLst>
              </a:tr>
              <a:tr h="196338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142573"/>
                  </a:ext>
                </a:extLst>
              </a:tr>
              <a:tr h="196338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0375911"/>
                  </a:ext>
                </a:extLst>
              </a:tr>
              <a:tr h="196338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x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22268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167693" y="2123615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</a:t>
            </a:r>
            <a:r>
              <a:rPr lang="cs-CZ" b="1" dirty="0" smtClean="0"/>
              <a:t>19.12.2021 00:28</a:t>
            </a:r>
            <a:endParaRPr lang="cs-CZ" b="1" dirty="0" smtClean="0"/>
          </a:p>
          <a:p>
            <a:pPr algn="ctr"/>
            <a:endParaRPr lang="cs-CZ" b="1" dirty="0"/>
          </a:p>
          <a:p>
            <a:pPr algn="ctr"/>
            <a:r>
              <a:rPr lang="cs-CZ" sz="2000" b="1" dirty="0" smtClean="0"/>
              <a:t>3 960</a:t>
            </a:r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326849" y="4071853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5617419"/>
              </p:ext>
            </p:extLst>
          </p:nvPr>
        </p:nvGraphicFramePr>
        <p:xfrm>
          <a:off x="261258" y="971555"/>
          <a:ext cx="8825593" cy="5475720"/>
        </p:xfrm>
        <a:graphic>
          <a:graphicData uri="http://schemas.openxmlformats.org/drawingml/2006/table">
            <a:tbl>
              <a:tblPr/>
              <a:tblGrid>
                <a:gridCol w="1867523">
                  <a:extLst>
                    <a:ext uri="{9D8B030D-6E8A-4147-A177-3AD203B41FA5}">
                      <a16:colId xmlns:a16="http://schemas.microsoft.com/office/drawing/2014/main" val="3820010819"/>
                    </a:ext>
                  </a:extLst>
                </a:gridCol>
                <a:gridCol w="1063622">
                  <a:extLst>
                    <a:ext uri="{9D8B030D-6E8A-4147-A177-3AD203B41FA5}">
                      <a16:colId xmlns:a16="http://schemas.microsoft.com/office/drawing/2014/main" val="1211075524"/>
                    </a:ext>
                  </a:extLst>
                </a:gridCol>
                <a:gridCol w="1051255">
                  <a:extLst>
                    <a:ext uri="{9D8B030D-6E8A-4147-A177-3AD203B41FA5}">
                      <a16:colId xmlns:a16="http://schemas.microsoft.com/office/drawing/2014/main" val="844151356"/>
                    </a:ext>
                  </a:extLst>
                </a:gridCol>
                <a:gridCol w="1051255">
                  <a:extLst>
                    <a:ext uri="{9D8B030D-6E8A-4147-A177-3AD203B41FA5}">
                      <a16:colId xmlns:a16="http://schemas.microsoft.com/office/drawing/2014/main" val="2957052506"/>
                    </a:ext>
                  </a:extLst>
                </a:gridCol>
                <a:gridCol w="1100726">
                  <a:extLst>
                    <a:ext uri="{9D8B030D-6E8A-4147-A177-3AD203B41FA5}">
                      <a16:colId xmlns:a16="http://schemas.microsoft.com/office/drawing/2014/main" val="1063980475"/>
                    </a:ext>
                  </a:extLst>
                </a:gridCol>
                <a:gridCol w="1496492">
                  <a:extLst>
                    <a:ext uri="{9D8B030D-6E8A-4147-A177-3AD203B41FA5}">
                      <a16:colId xmlns:a16="http://schemas.microsoft.com/office/drawing/2014/main" val="566473941"/>
                    </a:ext>
                  </a:extLst>
                </a:gridCol>
                <a:gridCol w="1194720">
                  <a:extLst>
                    <a:ext uri="{9D8B030D-6E8A-4147-A177-3AD203B41FA5}">
                      <a16:colId xmlns:a16="http://schemas.microsoft.com/office/drawing/2014/main" val="644973446"/>
                    </a:ext>
                  </a:extLst>
                </a:gridCol>
              </a:tblGrid>
              <a:tr h="161634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a infekční oddělení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17009674"/>
                  </a:ext>
                </a:extLst>
              </a:tr>
              <a:tr h="161634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19.12. 2021, 11:30 h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4525169"/>
                  </a:ext>
                </a:extLst>
              </a:tr>
              <a:tr h="16163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9855265"/>
                  </a:ext>
                </a:extLst>
              </a:tr>
              <a:tr h="16163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9940441"/>
                  </a:ext>
                </a:extLst>
              </a:tr>
              <a:tr h="476526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3063498"/>
                  </a:ext>
                </a:extLst>
              </a:tr>
              <a:tr h="1616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4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912760"/>
                  </a:ext>
                </a:extLst>
              </a:tr>
              <a:tr h="1616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86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2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758950"/>
                  </a:ext>
                </a:extLst>
              </a:tr>
              <a:tr h="1616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1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9453438"/>
                  </a:ext>
                </a:extLst>
              </a:tr>
              <a:tr h="1616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0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6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4739240"/>
                  </a:ext>
                </a:extLst>
              </a:tr>
              <a:tr h="1616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7036355"/>
                  </a:ext>
                </a:extLst>
              </a:tr>
              <a:tr h="1616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0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8364827"/>
                  </a:ext>
                </a:extLst>
              </a:tr>
              <a:tr h="1616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2657299"/>
                  </a:ext>
                </a:extLst>
              </a:tr>
              <a:tr h="1616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4089247"/>
                  </a:ext>
                </a:extLst>
              </a:tr>
              <a:tr h="1616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9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7963488"/>
                  </a:ext>
                </a:extLst>
              </a:tr>
              <a:tr h="1616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7455325"/>
                  </a:ext>
                </a:extLst>
              </a:tr>
              <a:tr h="1616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01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5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0555019"/>
                  </a:ext>
                </a:extLst>
              </a:tr>
              <a:tr h="1616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3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68413"/>
                  </a:ext>
                </a:extLst>
              </a:tr>
              <a:tr h="1616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4781400"/>
                  </a:ext>
                </a:extLst>
              </a:tr>
              <a:tr h="1616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2914877"/>
                  </a:ext>
                </a:extLst>
              </a:tr>
              <a:tr h="1616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696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1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9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6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2375649"/>
                  </a:ext>
                </a:extLst>
              </a:tr>
              <a:tr h="161634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3819781"/>
                  </a:ext>
                </a:extLst>
              </a:tr>
              <a:tr h="161634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2478391"/>
                  </a:ext>
                </a:extLst>
              </a:tr>
              <a:tr h="319080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4500661"/>
                  </a:ext>
                </a:extLst>
              </a:tr>
              <a:tr h="161634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x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022653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19809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– Stav očkování u hospitalizovaných pacientů</a:t>
            </a:r>
            <a:endParaRPr lang="cs-CZ" sz="2800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4077649"/>
              </p:ext>
            </p:extLst>
          </p:nvPr>
        </p:nvGraphicFramePr>
        <p:xfrm>
          <a:off x="905440" y="1861611"/>
          <a:ext cx="8652072" cy="32678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3018">
                  <a:extLst>
                    <a:ext uri="{9D8B030D-6E8A-4147-A177-3AD203B41FA5}">
                      <a16:colId xmlns:a16="http://schemas.microsoft.com/office/drawing/2014/main" val="2672105997"/>
                    </a:ext>
                  </a:extLst>
                </a:gridCol>
                <a:gridCol w="149527">
                  <a:extLst>
                    <a:ext uri="{9D8B030D-6E8A-4147-A177-3AD203B41FA5}">
                      <a16:colId xmlns:a16="http://schemas.microsoft.com/office/drawing/2014/main" val="2565829457"/>
                    </a:ext>
                  </a:extLst>
                </a:gridCol>
                <a:gridCol w="2013491">
                  <a:extLst>
                    <a:ext uri="{9D8B030D-6E8A-4147-A177-3AD203B41FA5}">
                      <a16:colId xmlns:a16="http://schemas.microsoft.com/office/drawing/2014/main" val="4257011553"/>
                    </a:ext>
                  </a:extLst>
                </a:gridCol>
                <a:gridCol w="2329909">
                  <a:extLst>
                    <a:ext uri="{9D8B030D-6E8A-4147-A177-3AD203B41FA5}">
                      <a16:colId xmlns:a16="http://schemas.microsoft.com/office/drawing/2014/main" val="3540943450"/>
                    </a:ext>
                  </a:extLst>
                </a:gridCol>
                <a:gridCol w="729761">
                  <a:extLst>
                    <a:ext uri="{9D8B030D-6E8A-4147-A177-3AD203B41FA5}">
                      <a16:colId xmlns:a16="http://schemas.microsoft.com/office/drawing/2014/main" val="1484824574"/>
                    </a:ext>
                  </a:extLst>
                </a:gridCol>
                <a:gridCol w="1266366">
                  <a:extLst>
                    <a:ext uri="{9D8B030D-6E8A-4147-A177-3AD203B41FA5}">
                      <a16:colId xmlns:a16="http://schemas.microsoft.com/office/drawing/2014/main" val="15660643"/>
                    </a:ext>
                  </a:extLst>
                </a:gridCol>
              </a:tblGrid>
              <a:tr h="451806">
                <a:tc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3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Stav</a:t>
                      </a:r>
                      <a:r>
                        <a:rPr lang="cs-CZ" sz="1300" b="0" i="0" baseline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 k </a:t>
                      </a:r>
                      <a:r>
                        <a:rPr lang="cs-CZ" sz="1300" b="0" i="0" baseline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19.12.2021 00:28 </a:t>
                      </a:r>
                      <a:r>
                        <a:rPr lang="cs-CZ" sz="1300" b="0" i="0" baseline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h</a:t>
                      </a:r>
                      <a:endParaRPr lang="cs-CZ" sz="13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cs-CZ" sz="120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3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Zdroj: ÚZIS</a:t>
                      </a:r>
                      <a:endParaRPr lang="cs-CZ" sz="13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070743"/>
                  </a:ext>
                </a:extLst>
              </a:tr>
              <a:tr h="557021">
                <a:tc gridSpan="6"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Celkem hospitalizovaných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PAC C+                   </a:t>
                      </a:r>
                      <a:r>
                        <a:rPr lang="cs-CZ" sz="2400" b="1" baseline="0" dirty="0" smtClean="0">
                          <a:latin typeface="+mj-lt"/>
                          <a:cs typeface="Calibri" panose="020F0502020204030204" pitchFamily="34" charset="0"/>
                        </a:rPr>
                        <a:t>4 772</a:t>
                      </a:r>
                      <a:endParaRPr lang="cs-CZ" sz="2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7492961"/>
                  </a:ext>
                </a:extLst>
              </a:tr>
              <a:tr h="451806">
                <a:tc gridSpan="3">
                  <a:txBody>
                    <a:bodyPr/>
                    <a:lstStyle/>
                    <a:p>
                      <a:pPr algn="ct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963122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očkovaní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506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52,5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JIP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812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71675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dokončené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55  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3,2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551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67,9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2755086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Dokončené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1 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760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36,9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standart O2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3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960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084318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osilovací dávka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351  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7,4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996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50,4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76608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6537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</a:t>
            </a:r>
            <a:r>
              <a:rPr lang="cs-CZ" dirty="0"/>
              <a:t>-</a:t>
            </a:r>
            <a:r>
              <a:rPr lang="cs-CZ" dirty="0" smtClean="0"/>
              <a:t> Souhrn - aktualizace</a:t>
            </a:r>
            <a:endParaRPr lang="cs-CZ" sz="2800" dirty="0"/>
          </a:p>
        </p:txBody>
      </p:sp>
      <p:graphicFrame>
        <p:nvGraphicFramePr>
          <p:cNvPr id="8" name="Tabul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9843674"/>
              </p:ext>
            </p:extLst>
          </p:nvPr>
        </p:nvGraphicFramePr>
        <p:xfrm>
          <a:off x="803513" y="1619682"/>
          <a:ext cx="4777098" cy="1341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199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2033899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pacity lůžkové péče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k </a:t>
                      </a: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2.2021</a:t>
                      </a:r>
                      <a:endParaRPr lang="cs-CZ" sz="16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62031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r>
                        <a:rPr lang="cs-CZ" sz="1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637</a:t>
                      </a:r>
                      <a:endParaRPr lang="cs-CZ" sz="16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9,7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 </a:t>
                      </a: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  <p:sp>
        <p:nvSpPr>
          <p:cNvPr id="4" name="TextovéPole 3"/>
          <p:cNvSpPr txBox="1"/>
          <p:nvPr/>
        </p:nvSpPr>
        <p:spPr>
          <a:xfrm>
            <a:off x="687313" y="3565694"/>
            <a:ext cx="105686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lší informace - aktualizace: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lang="cs-CZ" dirty="0" smtClean="0">
                <a:solidFill>
                  <a:prstClr val="black"/>
                </a:solidFill>
                <a:latin typeface="Segoe UI"/>
              </a:rPr>
              <a:t>Za 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18.12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. bylo 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124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 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nově přijatých pac. a 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140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 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propuštěných.</a:t>
            </a:r>
            <a:endParaRPr lang="cs-CZ" dirty="0">
              <a:solidFill>
                <a:prstClr val="black"/>
              </a:solidFill>
              <a:latin typeface="Segoe U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lang="cs-CZ" dirty="0" smtClean="0">
                <a:solidFill>
                  <a:prstClr val="black"/>
                </a:solidFill>
                <a:latin typeface="Segoe UI"/>
              </a:rPr>
              <a:t>KKIP – bez požadavků na mezikrajové překlady. Situace v krajích neměnná (omezený personál, zastavená </a:t>
            </a:r>
            <a:r>
              <a:rPr lang="cs-CZ" dirty="0" err="1" smtClean="0">
                <a:solidFill>
                  <a:prstClr val="black"/>
                </a:solidFill>
                <a:latin typeface="Segoe UI"/>
              </a:rPr>
              <a:t>elektiva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), ale dochází k mírnému zlepšení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5897634" y="1606585"/>
            <a:ext cx="5254894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cs-CZ" b="1" u="sng" dirty="0" smtClean="0">
                <a:latin typeface="Segoe UI" panose="020B0502040204020203" pitchFamily="34" charset="0"/>
                <a:cs typeface="Segoe UI" panose="020B0502040204020203" pitchFamily="34" charset="0"/>
              </a:rPr>
              <a:t>Hodnocení:</a:t>
            </a:r>
          </a:p>
          <a:p>
            <a:pPr lvl="0"/>
            <a:r>
              <a:rPr lang="cs-CZ" dirty="0" smtClean="0">
                <a:latin typeface="Segoe UI" panose="020B0502040204020203" pitchFamily="34" charset="0"/>
                <a:cs typeface="Segoe UI" panose="020B0502040204020203" pitchFamily="34" charset="0"/>
              </a:rPr>
              <a:t>Volné kapacity JIP v tomto týdnu začaly stoupat a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lesá </a:t>
            </a:r>
            <a:r>
              <a:rPr lang="cs-CZ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díl C+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c. Lůžka jsou, ale stále obsazena post COVID pacienty.</a:t>
            </a:r>
            <a:endParaRPr lang="cs-CZ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815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4605541"/>
              </p:ext>
            </p:extLst>
          </p:nvPr>
        </p:nvGraphicFramePr>
        <p:xfrm>
          <a:off x="332646" y="832094"/>
          <a:ext cx="11405086" cy="4634831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2170199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420126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1959490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455378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7403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131276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5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trvale kapacitní problémy FTN a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KV, ostatní navyšují kapacity dle potřeby, snaha o maximální zachování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  <a:p>
                      <a:pPr marL="0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cs-CZ" sz="1300" b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TN a </a:t>
                      </a:r>
                      <a:r>
                        <a:rPr lang="cs-CZ" sz="1300" b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mocnice na Bulovce hlásí kapacitní problémy na IP.</a:t>
                      </a:r>
                      <a:endParaRPr lang="cs-CZ" sz="1300" b="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47797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ní provoz je nadále plně zastaven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Onkologická aj. neodkladná operativa běží bez omezení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se ale pozvolna zlepšuje, alespoň z pohledu standardních oddělení, maximalizovány kapacity standardní i intenzivní péče, rezerva lůžek zůstává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iziková je nadále intenzivní péče.</a:t>
                      </a:r>
                      <a:endParaRPr lang="cs-CZ" sz="130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8770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1436676"/>
              </p:ext>
            </p:extLst>
          </p:nvPr>
        </p:nvGraphicFramePr>
        <p:xfrm>
          <a:off x="279292" y="841021"/>
          <a:ext cx="11587543" cy="4813425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5910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11889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chází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k o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zení kapacity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acienty v IP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i ve </a:t>
                      </a:r>
                      <a:r>
                        <a:rPr lang="cs-CZ" sz="1300" b="0" i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éči vzhledem k </a:t>
                      </a:r>
                      <a:r>
                        <a:rPr lang="cs-CZ" sz="1300" b="0" i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profilizaci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lůžkové kapacity. Omezená možnost překladů již neinfekčních </a:t>
                      </a:r>
                      <a:r>
                        <a:rPr lang="cs-CZ" sz="1300" b="0" i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ů.</a:t>
                      </a: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3821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8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neměnná v porovnání s předchozím týdnem.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omezená cca 40-50%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ajištěn akutní provoz (neodkladné stavy,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nkoopera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vá problém s nedostatkem kvalifikovaného personálu zejména v IP. 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139997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ktuálně pokles počtu hospitalizovaných ve standardní péči. V rámci Intenzivní péče dochází ke kumulaci pacientů s potřebou ventilační podpory i </a:t>
                      </a:r>
                      <a:r>
                        <a:rPr lang="cs-CZ" sz="1300" b="0" i="0" kern="120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vypadávají z oficiálních statistik, ale stále blokují lůžka vyšší IP!!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řetrvává omezení operativy na akutní a nutnou onkologickou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8781111"/>
              </p:ext>
            </p:extLst>
          </p:nvPr>
        </p:nvGraphicFramePr>
        <p:xfrm>
          <a:off x="350228" y="708347"/>
          <a:ext cx="11519385" cy="5863341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0313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7406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ocnice Sokolov – zcela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stavena el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ktivní operativ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74734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e méně pacientů na HFNO, ale 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ní se JIP + ARO s pacienty na UPV</a:t>
                      </a:r>
                      <a:endParaRPr lang="cs-CZ" sz="13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6967152"/>
                  </a:ext>
                </a:extLst>
              </a:tr>
              <a:tr h="13571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é hodnocení situace – zatím bez potřeby přesunů pacientů mimo spádovou oblast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operativy je nerovnoměrné, někde pouze akutní operativa, jinde ještě omezení do 20%. Souhrnně mezi C/D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11342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né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y nyní již celoplošně v JMK.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yjovská nemocnice vyhlásila HPO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 Brno omezuje ambulantní péči</a:t>
                      </a:r>
                      <a:r>
                        <a:rPr lang="cs-CZ" sz="1300" b="0" baseline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z důvodu </a:t>
                      </a: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dostatek personálu.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írné zlepšení situace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bez potřeby mezikrajských překladů.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  <a:tr h="11505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přímo řízených nemocnicích kraje (Jihlava, Pelhřimov,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vlBro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Třebíč, Nové Město n/M).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obdobná, zatím bez překladů v rámci kraje.</a:t>
                      </a:r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89813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3722</TotalTime>
  <Words>1887</Words>
  <Application>Microsoft Office PowerPoint</Application>
  <PresentationFormat>Širokoúhlá obrazovka</PresentationFormat>
  <Paragraphs>538</Paragraphs>
  <Slides>10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10</vt:i4>
      </vt:variant>
    </vt:vector>
  </HeadingPairs>
  <TitlesOfParts>
    <vt:vector size="17" baseType="lpstr">
      <vt:lpstr>Arial</vt:lpstr>
      <vt:lpstr>Arial Black</vt:lpstr>
      <vt:lpstr>Calibri</vt:lpstr>
      <vt:lpstr>Segoe UI</vt:lpstr>
      <vt:lpstr>Times New Roman</vt:lpstr>
      <vt:lpstr>Motiv Office</vt:lpstr>
      <vt:lpstr>1_Motiv Offic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NDLP – Stav očkování u hospitalizovaných pacientů</vt:lpstr>
      <vt:lpstr>NDLP - Souhrn - aktualizace</vt:lpstr>
      <vt:lpstr>Hodnocení situace v krajích od KKIP</vt:lpstr>
      <vt:lpstr>Hodnocení situace v krajích od KKIP</vt:lpstr>
      <vt:lpstr>Hodnocení situace v krajích od KKIP</vt:lpstr>
      <vt:lpstr>Hodnocení situace v krajích od KK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kiri29.dk@gmail.com</cp:lastModifiedBy>
  <cp:revision>1759</cp:revision>
  <cp:lastPrinted>2020-10-20T04:21:56Z</cp:lastPrinted>
  <dcterms:created xsi:type="dcterms:W3CDTF">2020-07-15T10:33:32Z</dcterms:created>
  <dcterms:modified xsi:type="dcterms:W3CDTF">2021-12-19T10:37:02Z</dcterms:modified>
</cp:coreProperties>
</file>